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5"/>
  </p:notesMasterIdLst>
  <p:sldIdLst>
    <p:sldId id="2147470117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2" d="100"/>
          <a:sy n="92" d="100"/>
        </p:scale>
        <p:origin x="8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7710670117918E-3"/>
          <c:y val="1.7275747508305649E-2"/>
          <c:w val="0.98504457865976414"/>
          <c:h val="0.95946843853820596"/>
        </c:manualLayout>
      </c:layout>
      <c:bubbleChart>
        <c:varyColors val="0"/>
        <c:ser>
          <c:idx val="0"/>
          <c:order val="0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2</c:f>
              <c:numCache>
                <c:formatCode>General</c:formatCode>
                <c:ptCount val="12"/>
                <c:pt idx="0">
                  <c:v>1.5</c:v>
                </c:pt>
                <c:pt idx="1">
                  <c:v>4</c:v>
                </c:pt>
                <c:pt idx="2">
                  <c:v>4.3</c:v>
                </c:pt>
                <c:pt idx="3">
                  <c:v>17.100000000000001</c:v>
                </c:pt>
                <c:pt idx="4">
                  <c:v>2.9</c:v>
                </c:pt>
                <c:pt idx="5">
                  <c:v>5.7</c:v>
                </c:pt>
                <c:pt idx="6">
                  <c:v>2</c:v>
                </c:pt>
                <c:pt idx="7">
                  <c:v>3.6</c:v>
                </c:pt>
                <c:pt idx="8">
                  <c:v>8.5</c:v>
                </c:pt>
                <c:pt idx="9">
                  <c:v>17.100000000000001</c:v>
                </c:pt>
              </c:numCache>
            </c:numRef>
          </c:xVal>
          <c:yVal>
            <c:numRef>
              <c:f>Sheet1!$B$1:$B$12</c:f>
              <c:numCache>
                <c:formatCode>General</c:formatCode>
                <c:ptCount val="12"/>
                <c:pt idx="0">
                  <c:v>1.2</c:v>
                </c:pt>
                <c:pt idx="1">
                  <c:v>0</c:v>
                </c:pt>
                <c:pt idx="2">
                  <c:v>3.2</c:v>
                </c:pt>
                <c:pt idx="3">
                  <c:v>0</c:v>
                </c:pt>
                <c:pt idx="4">
                  <c:v>6.1</c:v>
                </c:pt>
                <c:pt idx="5">
                  <c:v>3.8</c:v>
                </c:pt>
                <c:pt idx="6">
                  <c:v>3.6</c:v>
                </c:pt>
                <c:pt idx="7">
                  <c:v>1.2</c:v>
                </c:pt>
                <c:pt idx="8">
                  <c:v>4.4000000000000004</c:v>
                </c:pt>
                <c:pt idx="9">
                  <c:v>4.4000000000000004</c:v>
                </c:pt>
              </c:numCache>
            </c:numRef>
          </c:yVal>
          <c:bubbleSize>
            <c:numRef>
              <c:f>Sheet1!$C$1:$C$12</c:f>
              <c:numCache>
                <c:formatCode>General</c:formatCode>
                <c:ptCount val="12"/>
                <c:pt idx="0">
                  <c:v>819</c:v>
                </c:pt>
                <c:pt idx="1">
                  <c:v>22248</c:v>
                </c:pt>
                <c:pt idx="2">
                  <c:v>2588</c:v>
                </c:pt>
                <c:pt idx="3">
                  <c:v>3308</c:v>
                </c:pt>
                <c:pt idx="4">
                  <c:v>1460</c:v>
                </c:pt>
                <c:pt idx="5">
                  <c:v>15275</c:v>
                </c:pt>
                <c:pt idx="6">
                  <c:v>844</c:v>
                </c:pt>
                <c:pt idx="7">
                  <c:v>2698</c:v>
                </c:pt>
                <c:pt idx="8">
                  <c:v>2287</c:v>
                </c:pt>
                <c:pt idx="9">
                  <c:v>1032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B81C-4217-A140-5ACEC6307FFD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2</c:f>
              <c:numCache>
                <c:formatCode>General</c:formatCode>
                <c:ptCount val="12"/>
                <c:pt idx="10">
                  <c:v>17.100000000000001</c:v>
                </c:pt>
                <c:pt idx="11">
                  <c:v>5.5</c:v>
                </c:pt>
              </c:numCache>
            </c:numRef>
          </c:xVal>
          <c:yVal>
            <c:numRef>
              <c:f>Sheet1!$D$1:$D$12</c:f>
              <c:numCache>
                <c:formatCode>General</c:formatCode>
                <c:ptCount val="12"/>
                <c:pt idx="10">
                  <c:v>0</c:v>
                </c:pt>
                <c:pt idx="11">
                  <c:v>3.4</c:v>
                </c:pt>
              </c:numCache>
            </c:numRef>
          </c:yVal>
          <c:bubbleSize>
            <c:numRef>
              <c:f>Sheet1!$E$1:$E$12</c:f>
              <c:numCache>
                <c:formatCode>General</c:formatCode>
                <c:ptCount val="12"/>
                <c:pt idx="10">
                  <c:v>2031</c:v>
                </c:pt>
                <c:pt idx="11">
                  <c:v>435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B81C-4217-A140-5ACEC6307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9"/>
        <c:showNegBubbles val="0"/>
        <c:axId val="923525871"/>
        <c:axId val="1"/>
      </c:bubbleChart>
      <c:valAx>
        <c:axId val="923525871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923525871"/>
        <c:crosses val="min"/>
        <c:crossBetween val="midCat"/>
      </c:valAx>
      <c:spPr>
        <a:noFill/>
        <a:ln w="9525" cmpd="sng" algn="ctr">
          <a:solidFill>
            <a:srgbClr val="00000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7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CAB98A6-7761-4E4D-83FC-6D1D2506D4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010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input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image" Target="../media/image5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C50862E0-0C45-201F-5E59-26FAF4A39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8858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btfpColumnIndicatorGroup2">
            <a:extLst>
              <a:ext uri="{FF2B5EF4-FFF2-40B4-BE49-F238E27FC236}">
                <a16:creationId xmlns:a16="http://schemas.microsoft.com/office/drawing/2014/main" id="{5C15F467-D010-4602-AC5F-D8DD1A8B1ED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494880">
              <a:extLst>
                <a:ext uri="{FF2B5EF4-FFF2-40B4-BE49-F238E27FC236}">
                  <a16:creationId xmlns:a16="http://schemas.microsoft.com/office/drawing/2014/main" id="{A23FB7C8-7F45-4DFD-80CC-3F46736BE77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483646">
              <a:extLst>
                <a:ext uri="{FF2B5EF4-FFF2-40B4-BE49-F238E27FC236}">
                  <a16:creationId xmlns:a16="http://schemas.microsoft.com/office/drawing/2014/main" id="{957FA5C7-A87E-450A-97D2-D9D28B2F9B7D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850210">
              <a:extLst>
                <a:ext uri="{FF2B5EF4-FFF2-40B4-BE49-F238E27FC236}">
                  <a16:creationId xmlns:a16="http://schemas.microsoft.com/office/drawing/2014/main" id="{478B6F67-8618-4C7F-A0D5-B4003CDE300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60273">
              <a:extLst>
                <a:ext uri="{FF2B5EF4-FFF2-40B4-BE49-F238E27FC236}">
                  <a16:creationId xmlns:a16="http://schemas.microsoft.com/office/drawing/2014/main" id="{CFD08CD3-F426-4F9D-800F-94DE6ADA6DD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676224">
              <a:extLst>
                <a:ext uri="{FF2B5EF4-FFF2-40B4-BE49-F238E27FC236}">
                  <a16:creationId xmlns:a16="http://schemas.microsoft.com/office/drawing/2014/main" id="{6FA51C57-234B-4906-8D04-63E813F4009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944403">
              <a:extLst>
                <a:ext uri="{FF2B5EF4-FFF2-40B4-BE49-F238E27FC236}">
                  <a16:creationId xmlns:a16="http://schemas.microsoft.com/office/drawing/2014/main" id="{1B4910AB-D3E8-48ED-888D-30345F10B79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375069">
              <a:extLst>
                <a:ext uri="{FF2B5EF4-FFF2-40B4-BE49-F238E27FC236}">
                  <a16:creationId xmlns:a16="http://schemas.microsoft.com/office/drawing/2014/main" id="{B87D052C-B5A6-46C7-996B-70158617329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IndicatorGroup1">
            <a:extLst>
              <a:ext uri="{FF2B5EF4-FFF2-40B4-BE49-F238E27FC236}">
                <a16:creationId xmlns:a16="http://schemas.microsoft.com/office/drawing/2014/main" id="{A784A019-59B3-42EC-B894-517067AC132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154652">
              <a:extLst>
                <a:ext uri="{FF2B5EF4-FFF2-40B4-BE49-F238E27FC236}">
                  <a16:creationId xmlns:a16="http://schemas.microsoft.com/office/drawing/2014/main" id="{0ADC2B16-6977-43A6-B5CB-077C7586760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188540">
              <a:extLst>
                <a:ext uri="{FF2B5EF4-FFF2-40B4-BE49-F238E27FC236}">
                  <a16:creationId xmlns:a16="http://schemas.microsoft.com/office/drawing/2014/main" id="{3A09073A-B834-4F7D-86FC-161566D3F35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btfpColumnIndicator161819">
              <a:extLst>
                <a:ext uri="{FF2B5EF4-FFF2-40B4-BE49-F238E27FC236}">
                  <a16:creationId xmlns:a16="http://schemas.microsoft.com/office/drawing/2014/main" id="{1FEDEB70-763F-43E6-A824-1260DE34260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609859">
              <a:extLst>
                <a:ext uri="{FF2B5EF4-FFF2-40B4-BE49-F238E27FC236}">
                  <a16:creationId xmlns:a16="http://schemas.microsoft.com/office/drawing/2014/main" id="{F367F34E-FC84-48D3-A430-768B17F1462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804212">
              <a:extLst>
                <a:ext uri="{FF2B5EF4-FFF2-40B4-BE49-F238E27FC236}">
                  <a16:creationId xmlns:a16="http://schemas.microsoft.com/office/drawing/2014/main" id="{D7D05353-76F2-4B95-8D1D-42F07934618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btfpColumnIndicator745003">
              <a:extLst>
                <a:ext uri="{FF2B5EF4-FFF2-40B4-BE49-F238E27FC236}">
                  <a16:creationId xmlns:a16="http://schemas.microsoft.com/office/drawing/2014/main" id="{F4C36095-C101-4ECC-B658-CF8100E475A0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19505">
              <a:extLst>
                <a:ext uri="{FF2B5EF4-FFF2-40B4-BE49-F238E27FC236}">
                  <a16:creationId xmlns:a16="http://schemas.microsoft.com/office/drawing/2014/main" id="{D4A4BD2F-E00B-4124-BB23-A60C66AF789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Partial Circle 22">
            <a:extLst>
              <a:ext uri="{FF2B5EF4-FFF2-40B4-BE49-F238E27FC236}">
                <a16:creationId xmlns:a16="http://schemas.microsoft.com/office/drawing/2014/main" id="{904097F7-4F2B-43BF-9A28-93FF9ADD3E18}"/>
              </a:ext>
            </a:extLst>
          </p:cNvPr>
          <p:cNvSpPr/>
          <p:nvPr/>
        </p:nvSpPr>
        <p:spPr bwMode="gray">
          <a:xfrm flipH="1" flipV="1">
            <a:off x="4787421" y="-2481259"/>
            <a:ext cx="13978634" cy="764380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Partial Circle 78">
            <a:extLst>
              <a:ext uri="{FF2B5EF4-FFF2-40B4-BE49-F238E27FC236}">
                <a16:creationId xmlns:a16="http://schemas.microsoft.com/office/drawing/2014/main" id="{4232F778-5584-42CF-888A-EA49358E1A45}"/>
              </a:ext>
            </a:extLst>
          </p:cNvPr>
          <p:cNvSpPr/>
          <p:nvPr/>
        </p:nvSpPr>
        <p:spPr bwMode="gray">
          <a:xfrm flipH="1" flipV="1">
            <a:off x="5467350" y="-1788888"/>
            <a:ext cx="12610448" cy="625906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Partial Circle 34">
            <a:extLst>
              <a:ext uri="{FF2B5EF4-FFF2-40B4-BE49-F238E27FC236}">
                <a16:creationId xmlns:a16="http://schemas.microsoft.com/office/drawing/2014/main" id="{77DCFDF6-9B49-4AA2-82DD-24CAEE6CE380}"/>
              </a:ext>
            </a:extLst>
          </p:cNvPr>
          <p:cNvSpPr/>
          <p:nvPr/>
        </p:nvSpPr>
        <p:spPr bwMode="gray">
          <a:xfrm flipH="1" flipV="1">
            <a:off x="6472185" y="-1010113"/>
            <a:ext cx="10593374" cy="4720572"/>
          </a:xfrm>
          <a:prstGeom prst="pie">
            <a:avLst>
              <a:gd name="adj1" fmla="val 16201139"/>
              <a:gd name="adj2" fmla="val 1154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C82FBC9-A205-4684-AD25-C5F7BBDB3B96}"/>
              </a:ext>
            </a:extLst>
          </p:cNvPr>
          <p:cNvSpPr txBox="1"/>
          <p:nvPr/>
        </p:nvSpPr>
        <p:spPr bwMode="gray">
          <a:xfrm>
            <a:off x="4018680" y="6190521"/>
            <a:ext cx="495006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potential (Margin/ Cost, NWC, Cash, Revenue)</a:t>
            </a:r>
            <a:b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bsolute score from low to high)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93320D8-2509-40DD-AFFA-AFB91AA464AC}"/>
              </a:ext>
            </a:extLst>
          </p:cNvPr>
          <p:cNvSpPr txBox="1"/>
          <p:nvPr/>
        </p:nvSpPr>
        <p:spPr bwMode="gray">
          <a:xfrm rot="16200000">
            <a:off x="-604566" y="3408294"/>
            <a:ext cx="1686666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in Relationship to company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7A9495FE-531A-4EDA-9635-17EA6D97CAB9}"/>
              </a:ext>
            </a:extLst>
          </p:cNvPr>
          <p:cNvSpPr/>
          <p:nvPr/>
        </p:nvSpPr>
        <p:spPr bwMode="gray">
          <a:xfrm>
            <a:off x="3052049" y="6047567"/>
            <a:ext cx="6759758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74F176-D606-4B02-B95B-93050E0B17CA}"/>
              </a:ext>
            </a:extLst>
          </p:cNvPr>
          <p:cNvSpPr txBox="1"/>
          <p:nvPr/>
        </p:nvSpPr>
        <p:spPr bwMode="gray">
          <a:xfrm>
            <a:off x="10989000" y="158593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1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85885377-94FA-48FD-AC1D-7168CDB358B1}"/>
              </a:ext>
            </a:extLst>
          </p:cNvPr>
          <p:cNvSpPr/>
          <p:nvPr/>
        </p:nvSpPr>
        <p:spPr bwMode="gray">
          <a:xfrm rot="16200000">
            <a:off x="-217885" y="3460674"/>
            <a:ext cx="1392929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780F58-446C-41AE-AD14-C49491DA456D}"/>
              </a:ext>
            </a:extLst>
          </p:cNvPr>
          <p:cNvSpPr txBox="1"/>
          <p:nvPr/>
        </p:nvSpPr>
        <p:spPr bwMode="gray">
          <a:xfrm rot="16200000">
            <a:off x="-118666" y="1304613"/>
            <a:ext cx="9316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lent relationshi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EB242E-E05D-4726-825B-8DEAD66896B5}"/>
              </a:ext>
            </a:extLst>
          </p:cNvPr>
          <p:cNvSpPr txBox="1"/>
          <p:nvPr/>
        </p:nvSpPr>
        <p:spPr bwMode="gray">
          <a:xfrm rot="16200000">
            <a:off x="-107065" y="5494011"/>
            <a:ext cx="90845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relationshi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446594-CD83-4B8F-B851-09B1C104BE5E}"/>
              </a:ext>
            </a:extLst>
          </p:cNvPr>
          <p:cNvSpPr txBox="1"/>
          <p:nvPr/>
        </p:nvSpPr>
        <p:spPr bwMode="gray">
          <a:xfrm>
            <a:off x="571334" y="6000281"/>
            <a:ext cx="1462738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er improvement potential vs pe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EAA5CE3-097B-460C-A409-3B89173E4031}"/>
              </a:ext>
            </a:extLst>
          </p:cNvPr>
          <p:cNvSpPr txBox="1"/>
          <p:nvPr/>
        </p:nvSpPr>
        <p:spPr bwMode="gray">
          <a:xfrm>
            <a:off x="10572750" y="6047463"/>
            <a:ext cx="128905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improvement potential vs peer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9AE1C1A-35D0-44FE-A1CD-B1D441DD00EF}"/>
              </a:ext>
            </a:extLst>
          </p:cNvPr>
          <p:cNvSpPr/>
          <p:nvPr/>
        </p:nvSpPr>
        <p:spPr bwMode="gray">
          <a:xfrm>
            <a:off x="10986268" y="5184097"/>
            <a:ext cx="590598" cy="57238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$3B</a:t>
            </a:r>
            <a:endParaRPr kumimoji="0" lang="pl-PL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426D4E3-D8F2-474F-B8E1-81204623FAE6}"/>
              </a:ext>
            </a:extLst>
          </p:cNvPr>
          <p:cNvSpPr txBox="1"/>
          <p:nvPr/>
        </p:nvSpPr>
        <p:spPr bwMode="gray">
          <a:xfrm>
            <a:off x="10989000" y="3832946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9EEDA0-A5E5-4B6E-843B-640F4445A5AE}"/>
              </a:ext>
            </a:extLst>
          </p:cNvPr>
          <p:cNvSpPr txBox="1"/>
          <p:nvPr/>
        </p:nvSpPr>
        <p:spPr bwMode="gray">
          <a:xfrm>
            <a:off x="10989000" y="459265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3</a:t>
            </a:r>
          </a:p>
        </p:txBody>
      </p:sp>
      <p:sp>
        <p:nvSpPr>
          <p:cNvPr id="3" name="btfpNotesBox337012">
            <a:extLst>
              <a:ext uri="{FF2B5EF4-FFF2-40B4-BE49-F238E27FC236}">
                <a16:creationId xmlns:a16="http://schemas.microsoft.com/office/drawing/2014/main" id="{AE5D2731-58A4-4DB3-BBA5-9D911C40699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XXX</a:t>
            </a: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601CAEE8-3E76-47E1-63C7-B3F69942D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9AD9B33D-5326-D124-C992-D3DFF91A072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70228970"/>
              </p:ext>
            </p:extLst>
          </p:nvPr>
        </p:nvGraphicFramePr>
        <p:xfrm>
          <a:off x="806450" y="1108075"/>
          <a:ext cx="11039475" cy="477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" name="Text Placeholder">
            <a:extLst>
              <a:ext uri="{FF2B5EF4-FFF2-40B4-BE49-F238E27FC236}">
                <a16:creationId xmlns:a16="http://schemas.microsoft.com/office/drawing/2014/main" id="{3623A85E-2F3C-C017-14A0-C8A34272F33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39788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5EA49-976C-4D48-8FE3-76F5AA13A6C4}" type="datetime'''''''''''''''''''''''''''''''''''''''0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6D81AF19-BA02-8B98-5394-14014D60A2F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559175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F2DA850-BA3A-48D9-9EBC-EB6623B34905}" type="datetime'5'''''''''''''">
              <a:rPr lang="en-US" alt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0" name="Text Placeholder">
            <a:extLst>
              <a:ext uri="{FF2B5EF4-FFF2-40B4-BE49-F238E27FC236}">
                <a16:creationId xmlns:a16="http://schemas.microsoft.com/office/drawing/2014/main" id="{936CBDEA-D936-EE78-5C17-8CACE95A5D8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227763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6AA215C-719B-4F7C-83D1-67E62F7A3D71}" type="datetime'''1''0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5B9C35C4-1BC9-11CB-A18D-32A96CAA2A7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9471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879DE7F-7AAD-4A90-93AA-75116DDF1EB2}" type="datetime'''''''''''''''''''''1''''''''''''''''''''''''''''''5'''''">
              <a:rPr lang="en-US" altLang="en-US" smtClean="0">
                <a:solidFill>
                  <a:srgbClr val="000000"/>
                </a:solidFill>
              </a:rPr>
              <a:pPr/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D49AA4F3-3101-B911-D4F5-D78904B4E7A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16649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D4CA3E-A6A5-4B32-850C-33C75EBEA210}" type="datetime'''''''''''''''''20'''''''''''''''''''''''''''''''''">
              <a:rPr lang="en-US" altLang="en-US" smtClean="0">
                <a:solidFill>
                  <a:srgbClr val="000000"/>
                </a:solidFill>
              </a:rPr>
              <a:pPr/>
              <a:t>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1DBC3EE8-462A-C831-1558-AB07331513D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73100" y="56689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0DF1277-3C4D-427E-9CF3-5422512D1707}" type="datetime'''''''''''''''''''''''''''''0''''''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2D19F6B4-2A84-59F3-653D-8308558EA96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73100" y="452278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9B4E9EE-6119-41D0-894E-5CE815EA3B6C}" type="datetime'''''''''''''''''2'''''''''''''''''''''">
              <a:rPr lang="en-US" alt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598D1252-E107-FDCB-AB3C-EB191C75655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73100" y="337661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044F74D-1713-4F41-90FC-27ABE0AB9EBA}" type="datetime'''4''''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2BE8E745-1EEA-E5E0-C73A-A1031DC9DA2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73100" y="22304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32BA5C2-6E60-43CF-8C43-389AAFEC8309}" type="datetime'''''''''''''''''''''''''6'''">
              <a:rPr lang="en-US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">
            <a:extLst>
              <a:ext uri="{FF2B5EF4-FFF2-40B4-BE49-F238E27FC236}">
                <a16:creationId xmlns:a16="http://schemas.microsoft.com/office/drawing/2014/main" id="{C40E015C-F168-E1B6-7BC5-FB4B3DAB3A2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73100" y="10842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3546FCF-2246-471E-A319-A5C611A37E78}" type="datetime'''''''8'''''''''''''''''''''''''''''''''''''''''''''''''">
              <a:rPr lang="en-US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5ACDCAEC-BFA0-6EC0-92AE-496C675F2E85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195388" y="5213350"/>
            <a:ext cx="1019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A7A86C5-B5BD-4970-98DB-2ADD0EE87950}" type="datetime'''B''el''i''''''''''''ev''''''e S''''''''''''.''A''.'''">
              <a:rPr lang="en-US" altLang="en-US" smtClean="0">
                <a:solidFill>
                  <a:srgbClr val="000000"/>
                </a:solidFill>
              </a:rPr>
              <a:pPr/>
              <a:t>Believe S.A.</a:t>
            </a:fld>
            <a:endParaRPr lang="en-US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6882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lehfxbIbvwqoDdxWPl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7Ryl2gjjmWCHv891Nu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NpFIwOzLv0QaXdpV_K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nZWtzo6YPbmlyj2MyW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01amgaSKuxx2zbPgb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1nO8h4WXvYDdTiOo7y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8IH6YTMXUPqebZWSso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x_psDrO7vdUH51k5s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VAL7x5XLaPxzR2iM3I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qZXM9mFay7Wizwr9C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dP2yBnD1arxM4ecMg8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dg8ZKn31mJsowNI66ZhA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</TotalTime>
  <Words>71</Words>
  <Application>Microsoft Office PowerPoint</Application>
  <PresentationFormat>Widescreen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Bain Core</vt:lpstr>
      <vt:lpstr>think-cell Slide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Vijay, Rahul</cp:lastModifiedBy>
  <cp:revision>22</cp:revision>
  <cp:lastPrinted>2017-02-15T14:23:56Z</cp:lastPrinted>
  <dcterms:created xsi:type="dcterms:W3CDTF">2024-07-23T08:24:21Z</dcterms:created>
  <dcterms:modified xsi:type="dcterms:W3CDTF">2024-07-30T05:46:42Z</dcterms:modified>
</cp:coreProperties>
</file>